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4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CCCCB9-DBAB-485D-9A69-55C843EBA698}" v="56" dt="2021-02-10T22:27:57.75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00" autoAdjust="0"/>
    <p:restoredTop sz="85788" autoAdjust="0"/>
  </p:normalViewPr>
  <p:slideViewPr>
    <p:cSldViewPr snapToGrid="0">
      <p:cViewPr>
        <p:scale>
          <a:sx n="70" d="100"/>
          <a:sy n="70" d="100"/>
        </p:scale>
        <p:origin x="1680" y="5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iona Dean" userId="6648d5f0034946ba" providerId="Windows Live" clId="Web-{21CCCCB9-DBAB-485D-9A69-55C843EBA698}"/>
    <pc:docChg chg="modSld">
      <pc:chgData name="Fiona Dean" userId="6648d5f0034946ba" providerId="Windows Live" clId="Web-{21CCCCB9-DBAB-485D-9A69-55C843EBA698}" dt="2021-02-10T22:27:56.570" v="49" actId="20577"/>
      <pc:docMkLst>
        <pc:docMk/>
      </pc:docMkLst>
      <pc:sldChg chg="delSp modSp">
        <pc:chgData name="Fiona Dean" userId="6648d5f0034946ba" providerId="Windows Live" clId="Web-{21CCCCB9-DBAB-485D-9A69-55C843EBA698}" dt="2021-02-10T22:27:56.570" v="49" actId="20577"/>
        <pc:sldMkLst>
          <pc:docMk/>
          <pc:sldMk cId="2968087601" sldId="394"/>
        </pc:sldMkLst>
        <pc:spChg chg="mod">
          <ac:chgData name="Fiona Dean" userId="6648d5f0034946ba" providerId="Windows Live" clId="Web-{21CCCCB9-DBAB-485D-9A69-55C843EBA698}" dt="2021-02-10T22:27:07.351" v="32" actId="20577"/>
          <ac:spMkLst>
            <pc:docMk/>
            <pc:sldMk cId="2968087601" sldId="394"/>
            <ac:spMk id="36" creationId="{31130DA0-F302-4CF0-8361-CB3677DBB715}"/>
          </ac:spMkLst>
        </pc:spChg>
        <pc:spChg chg="mod">
          <ac:chgData name="Fiona Dean" userId="6648d5f0034946ba" providerId="Windows Live" clId="Web-{21CCCCB9-DBAB-485D-9A69-55C843EBA698}" dt="2021-02-10T22:27:15.492" v="35" actId="20577"/>
          <ac:spMkLst>
            <pc:docMk/>
            <pc:sldMk cId="2968087601" sldId="394"/>
            <ac:spMk id="40" creationId="{5C4D64FD-5C62-45E9-858E-546F1AECB6C5}"/>
          </ac:spMkLst>
        </pc:spChg>
        <pc:spChg chg="mod">
          <ac:chgData name="Fiona Dean" userId="6648d5f0034946ba" providerId="Windows Live" clId="Web-{21CCCCB9-DBAB-485D-9A69-55C843EBA698}" dt="2021-02-10T22:24:36.273" v="6" actId="1076"/>
          <ac:spMkLst>
            <pc:docMk/>
            <pc:sldMk cId="2968087601" sldId="394"/>
            <ac:spMk id="41" creationId="{3C9A63EC-2279-4DA5-9EA5-C39900D86633}"/>
          </ac:spMkLst>
        </pc:spChg>
        <pc:spChg chg="mod">
          <ac:chgData name="Fiona Dean" userId="6648d5f0034946ba" providerId="Windows Live" clId="Web-{21CCCCB9-DBAB-485D-9A69-55C843EBA698}" dt="2021-02-10T22:27:23.586" v="38" actId="20577"/>
          <ac:spMkLst>
            <pc:docMk/>
            <pc:sldMk cId="2968087601" sldId="394"/>
            <ac:spMk id="42" creationId="{ABCC00AA-7819-4FD2-BA28-F71657D39EA4}"/>
          </ac:spMkLst>
        </pc:spChg>
        <pc:spChg chg="mod">
          <ac:chgData name="Fiona Dean" userId="6648d5f0034946ba" providerId="Windows Live" clId="Web-{21CCCCB9-DBAB-485D-9A69-55C843EBA698}" dt="2021-02-10T22:24:55.023" v="11" actId="20577"/>
          <ac:spMkLst>
            <pc:docMk/>
            <pc:sldMk cId="2968087601" sldId="394"/>
            <ac:spMk id="52" creationId="{CC6ED4EA-C861-45A2-9BF2-6E7EB1C5DF96}"/>
          </ac:spMkLst>
        </pc:spChg>
        <pc:spChg chg="mod">
          <ac:chgData name="Fiona Dean" userId="6648d5f0034946ba" providerId="Windows Live" clId="Web-{21CCCCB9-DBAB-485D-9A69-55C843EBA698}" dt="2021-02-10T22:25:07.492" v="13" actId="20577"/>
          <ac:spMkLst>
            <pc:docMk/>
            <pc:sldMk cId="2968087601" sldId="394"/>
            <ac:spMk id="53" creationId="{D038EB5B-2572-4B84-AB8A-361511072402}"/>
          </ac:spMkLst>
        </pc:spChg>
        <pc:spChg chg="mod">
          <ac:chgData name="Fiona Dean" userId="6648d5f0034946ba" providerId="Windows Live" clId="Web-{21CCCCB9-DBAB-485D-9A69-55C843EBA698}" dt="2021-02-10T22:26:15.398" v="16" actId="20577"/>
          <ac:spMkLst>
            <pc:docMk/>
            <pc:sldMk cId="2968087601" sldId="394"/>
            <ac:spMk id="60" creationId="{C4671329-F797-486B-9650-838365381ED1}"/>
          </ac:spMkLst>
        </pc:spChg>
        <pc:spChg chg="mod">
          <ac:chgData name="Fiona Dean" userId="6648d5f0034946ba" providerId="Windows Live" clId="Web-{21CCCCB9-DBAB-485D-9A69-55C843EBA698}" dt="2021-02-10T22:26:25.383" v="19" actId="20577"/>
          <ac:spMkLst>
            <pc:docMk/>
            <pc:sldMk cId="2968087601" sldId="394"/>
            <ac:spMk id="90" creationId="{6A0225A3-009E-423E-A54B-EEFA0E42F069}"/>
          </ac:spMkLst>
        </pc:spChg>
        <pc:spChg chg="mod">
          <ac:chgData name="Fiona Dean" userId="6648d5f0034946ba" providerId="Windows Live" clId="Web-{21CCCCB9-DBAB-485D-9A69-55C843EBA698}" dt="2021-02-10T22:26:34.914" v="23" actId="20577"/>
          <ac:spMkLst>
            <pc:docMk/>
            <pc:sldMk cId="2968087601" sldId="394"/>
            <ac:spMk id="91" creationId="{8F7C8AA3-D6DA-4FA5-987E-8D102FE0CF0D}"/>
          </ac:spMkLst>
        </pc:spChg>
        <pc:spChg chg="mod">
          <ac:chgData name="Fiona Dean" userId="6648d5f0034946ba" providerId="Windows Live" clId="Web-{21CCCCB9-DBAB-485D-9A69-55C843EBA698}" dt="2021-02-10T22:27:46.398" v="44" actId="20577"/>
          <ac:spMkLst>
            <pc:docMk/>
            <pc:sldMk cId="2968087601" sldId="394"/>
            <ac:spMk id="92" creationId="{A2BF61C6-63AC-4E49-86A5-DAB147487B6E}"/>
          </ac:spMkLst>
        </pc:spChg>
        <pc:spChg chg="mod">
          <ac:chgData name="Fiona Dean" userId="6648d5f0034946ba" providerId="Windows Live" clId="Web-{21CCCCB9-DBAB-485D-9A69-55C843EBA698}" dt="2021-02-10T22:27:54.304" v="47" actId="20577"/>
          <ac:spMkLst>
            <pc:docMk/>
            <pc:sldMk cId="2968087601" sldId="394"/>
            <ac:spMk id="95" creationId="{5B02BA49-8E09-460D-870D-1492E6E99AB4}"/>
          </ac:spMkLst>
        </pc:spChg>
        <pc:spChg chg="mod">
          <ac:chgData name="Fiona Dean" userId="6648d5f0034946ba" providerId="Windows Live" clId="Web-{21CCCCB9-DBAB-485D-9A69-55C843EBA698}" dt="2021-02-10T22:26:27.554" v="21" actId="20577"/>
          <ac:spMkLst>
            <pc:docMk/>
            <pc:sldMk cId="2968087601" sldId="394"/>
            <ac:spMk id="105" creationId="{4B3F6126-9772-4752-95EE-17CE868756C9}"/>
          </ac:spMkLst>
        </pc:spChg>
        <pc:spChg chg="mod">
          <ac:chgData name="Fiona Dean" userId="6648d5f0034946ba" providerId="Windows Live" clId="Web-{21CCCCB9-DBAB-485D-9A69-55C843EBA698}" dt="2021-02-10T22:26:49.320" v="26" actId="20577"/>
          <ac:spMkLst>
            <pc:docMk/>
            <pc:sldMk cId="2968087601" sldId="394"/>
            <ac:spMk id="108" creationId="{C5484132-A9FD-470B-B860-2217E3196106}"/>
          </ac:spMkLst>
        </pc:spChg>
        <pc:spChg chg="mod">
          <ac:chgData name="Fiona Dean" userId="6648d5f0034946ba" providerId="Windows Live" clId="Web-{21CCCCB9-DBAB-485D-9A69-55C843EBA698}" dt="2021-02-10T22:26:57.929" v="29" actId="20577"/>
          <ac:spMkLst>
            <pc:docMk/>
            <pc:sldMk cId="2968087601" sldId="394"/>
            <ac:spMk id="109" creationId="{A410FDE2-88CC-4456-BD41-9425341828BF}"/>
          </ac:spMkLst>
        </pc:spChg>
        <pc:spChg chg="mod">
          <ac:chgData name="Fiona Dean" userId="6648d5f0034946ba" providerId="Windows Live" clId="Web-{21CCCCB9-DBAB-485D-9A69-55C843EBA698}" dt="2021-02-10T22:27:35.445" v="41" actId="20577"/>
          <ac:spMkLst>
            <pc:docMk/>
            <pc:sldMk cId="2968087601" sldId="394"/>
            <ac:spMk id="114" creationId="{48B96AF2-33E5-483E-A108-B2AC8022D548}"/>
          </ac:spMkLst>
        </pc:spChg>
        <pc:spChg chg="mod">
          <ac:chgData name="Fiona Dean" userId="6648d5f0034946ba" providerId="Windows Live" clId="Web-{21CCCCB9-DBAB-485D-9A69-55C843EBA698}" dt="2021-02-10T22:27:56.570" v="49" actId="20577"/>
          <ac:spMkLst>
            <pc:docMk/>
            <pc:sldMk cId="2968087601" sldId="394"/>
            <ac:spMk id="119" creationId="{457F9445-ACF8-4512-AA7C-16DC669BFF1A}"/>
          </ac:spMkLst>
        </pc:spChg>
        <pc:cxnChg chg="del">
          <ac:chgData name="Fiona Dean" userId="6648d5f0034946ba" providerId="Windows Live" clId="Web-{21CCCCB9-DBAB-485D-9A69-55C843EBA698}" dt="2021-02-10T22:24:48.117" v="10"/>
          <ac:cxnSpMkLst>
            <pc:docMk/>
            <pc:sldMk cId="2968087601" sldId="394"/>
            <ac:cxnSpMk id="16" creationId="{B5D26C0C-ABE4-436D-9169-215E6A514CFF}"/>
          </ac:cxnSpMkLst>
        </pc:cxnChg>
        <pc:cxnChg chg="mod">
          <ac:chgData name="Fiona Dean" userId="6648d5f0034946ba" providerId="Windows Live" clId="Web-{21CCCCB9-DBAB-485D-9A69-55C843EBA698}" dt="2021-02-10T22:24:36.273" v="6" actId="1076"/>
          <ac:cxnSpMkLst>
            <pc:docMk/>
            <pc:sldMk cId="2968087601" sldId="394"/>
            <ac:cxnSpMk id="57" creationId="{F823FFC3-DCD8-408E-A9D5-AACED83DB138}"/>
          </ac:cxnSpMkLst>
        </pc:cxnChg>
        <pc:cxnChg chg="mod">
          <ac:chgData name="Fiona Dean" userId="6648d5f0034946ba" providerId="Windows Live" clId="Web-{21CCCCB9-DBAB-485D-9A69-55C843EBA698}" dt="2021-02-10T22:24:36.273" v="6" actId="1076"/>
          <ac:cxnSpMkLst>
            <pc:docMk/>
            <pc:sldMk cId="2968087601" sldId="394"/>
            <ac:cxnSpMk id="68" creationId="{9D19E7F2-5FDA-41CD-93F8-3A658C0D7B4F}"/>
          </ac:cxnSpMkLst>
        </pc:cxnChg>
        <pc:cxnChg chg="mod">
          <ac:chgData name="Fiona Dean" userId="6648d5f0034946ba" providerId="Windows Live" clId="Web-{21CCCCB9-DBAB-485D-9A69-55C843EBA698}" dt="2021-02-10T22:24:36.273" v="6" actId="1076"/>
          <ac:cxnSpMkLst>
            <pc:docMk/>
            <pc:sldMk cId="2968087601" sldId="394"/>
            <ac:cxnSpMk id="73" creationId="{1AE4E0FA-38D9-4A69-9114-FED9499F55D0}"/>
          </ac:cxnSpMkLst>
        </pc:cxnChg>
        <pc:cxnChg chg="mod">
          <ac:chgData name="Fiona Dean" userId="6648d5f0034946ba" providerId="Windows Live" clId="Web-{21CCCCB9-DBAB-485D-9A69-55C843EBA698}" dt="2021-02-10T22:24:40.257" v="7" actId="14100"/>
          <ac:cxnSpMkLst>
            <pc:docMk/>
            <pc:sldMk cId="2968087601" sldId="394"/>
            <ac:cxnSpMk id="75" creationId="{F883A0FE-70AD-45D9-B3F8-D7A81E788A62}"/>
          </ac:cxnSpMkLst>
        </pc:cxnChg>
        <pc:cxnChg chg="mod">
          <ac:chgData name="Fiona Dean" userId="6648d5f0034946ba" providerId="Windows Live" clId="Web-{21CCCCB9-DBAB-485D-9A69-55C843EBA698}" dt="2021-02-10T22:24:40.257" v="7" actId="14100"/>
          <ac:cxnSpMkLst>
            <pc:docMk/>
            <pc:sldMk cId="2968087601" sldId="394"/>
            <ac:cxnSpMk id="77" creationId="{FDEFC01C-EA8B-4F7F-BB9B-C82DAC9CD755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0/02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1117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EBIT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257027" y="3204446"/>
            <a:ext cx="1517650" cy="274994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EBIT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546435"/>
            <a:ext cx="1109002" cy="29846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Revenu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597150" y="5056972"/>
            <a:ext cx="1109002" cy="2984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ng Expense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cxnSpLocks/>
            <a:stCxn id="3" idx="3"/>
            <a:endCxn id="5" idx="1"/>
          </p:cNvCxnSpPr>
          <p:nvPr/>
        </p:nvCxnSpPr>
        <p:spPr>
          <a:xfrm flipV="1">
            <a:off x="1774677" y="1695668"/>
            <a:ext cx="822473" cy="1646275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cxnSpLocks/>
            <a:stCxn id="3" idx="3"/>
            <a:endCxn id="6" idx="1"/>
          </p:cNvCxnSpPr>
          <p:nvPr/>
        </p:nvCxnSpPr>
        <p:spPr>
          <a:xfrm>
            <a:off x="1774677" y="3341943"/>
            <a:ext cx="822473" cy="1864262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395213" y="5880778"/>
            <a:ext cx="1287283" cy="27499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AU" sz="1200" b="1" dirty="0">
                <a:solidFill>
                  <a:schemeClr val="bg1"/>
                </a:solidFill>
              </a:rPr>
              <a:t>Cost Centr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1130DA0-F302-4CF0-8361-CB3677DBB715}"/>
              </a:ext>
            </a:extLst>
          </p:cNvPr>
          <p:cNvSpPr/>
          <p:nvPr/>
        </p:nvSpPr>
        <p:spPr>
          <a:xfrm>
            <a:off x="6572839" y="4876120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900" dirty="0"/>
              <a:t>Plant Maintenance (001)</a:t>
            </a:r>
            <a:endParaRPr lang="en-AU" sz="900" dirty="0">
              <a:ea typeface="+mn-lt"/>
              <a:cs typeface="+mn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C4D64FD-5C62-45E9-858E-546F1AECB6C5}"/>
              </a:ext>
            </a:extLst>
          </p:cNvPr>
          <p:cNvSpPr/>
          <p:nvPr/>
        </p:nvSpPr>
        <p:spPr>
          <a:xfrm>
            <a:off x="6572838" y="5191480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900" dirty="0"/>
              <a:t>Plant Outages (002)</a:t>
            </a:r>
            <a:endParaRPr lang="en-AU" sz="900" dirty="0">
              <a:ea typeface="+mn-lt"/>
              <a:cs typeface="+mn-l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BCC00AA-7819-4FD2-BA28-F71657D39EA4}"/>
              </a:ext>
            </a:extLst>
          </p:cNvPr>
          <p:cNvSpPr/>
          <p:nvPr/>
        </p:nvSpPr>
        <p:spPr>
          <a:xfrm>
            <a:off x="6572838" y="5483823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900" dirty="0"/>
              <a:t>Plant Op. Costs (003)</a:t>
            </a:r>
            <a:endParaRPr lang="en-AU" sz="900" dirty="0">
              <a:ea typeface="+mn-lt"/>
              <a:cs typeface="+mn-lt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7D8877A8-B79B-451E-9282-EF06063653D9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-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C9A63EC-2279-4DA5-9EA5-C39900D86633}"/>
              </a:ext>
            </a:extLst>
          </p:cNvPr>
          <p:cNvSpPr/>
          <p:nvPr/>
        </p:nvSpPr>
        <p:spPr>
          <a:xfrm>
            <a:off x="4114800" y="1038180"/>
            <a:ext cx="2292349" cy="36689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 dirty="0">
                <a:ea typeface="ＭＳ Ｐゴシック"/>
                <a:cs typeface="+mn-lt"/>
              </a:rPr>
              <a:t>001 Private Water Hedge Sales ($)</a:t>
            </a:r>
            <a:endParaRPr lang="en-AU" sz="1050" dirty="0">
              <a:ea typeface="+mn-lt"/>
              <a:cs typeface="+mn-lt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C6ED4EA-C861-45A2-9BF2-6E7EB1C5DF96}"/>
              </a:ext>
            </a:extLst>
          </p:cNvPr>
          <p:cNvSpPr/>
          <p:nvPr/>
        </p:nvSpPr>
        <p:spPr>
          <a:xfrm>
            <a:off x="4114800" y="1471083"/>
            <a:ext cx="2292349" cy="354516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 dirty="0"/>
              <a:t>002 Public Sales ($)</a:t>
            </a:r>
            <a:endParaRPr lang="en-AU" sz="1050" dirty="0">
              <a:ea typeface="+mn-lt"/>
              <a:cs typeface="+mn-lt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038EB5B-2572-4B84-AB8A-361511072402}"/>
              </a:ext>
            </a:extLst>
          </p:cNvPr>
          <p:cNvSpPr/>
          <p:nvPr/>
        </p:nvSpPr>
        <p:spPr>
          <a:xfrm>
            <a:off x="4114800" y="1928801"/>
            <a:ext cx="2292349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 dirty="0"/>
              <a:t>003 Residential Sales ($)</a:t>
            </a:r>
            <a:endParaRPr lang="en-AU" sz="1050" dirty="0">
              <a:ea typeface="+mn-lt"/>
              <a:cs typeface="+mn-lt"/>
            </a:endParaRPr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F823FFC3-DCD8-408E-A9D5-AACED83DB138}"/>
              </a:ext>
            </a:extLst>
          </p:cNvPr>
          <p:cNvCxnSpPr>
            <a:stCxn id="5" idx="3"/>
            <a:endCxn id="41" idx="1"/>
          </p:cNvCxnSpPr>
          <p:nvPr/>
        </p:nvCxnSpPr>
        <p:spPr>
          <a:xfrm flipV="1">
            <a:off x="3706152" y="1221627"/>
            <a:ext cx="408648" cy="474041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541E318B-2D9A-47C0-A331-FBBB5FDA0A5B}"/>
              </a:ext>
            </a:extLst>
          </p:cNvPr>
          <p:cNvCxnSpPr>
            <a:stCxn id="5" idx="3"/>
            <a:endCxn id="53" idx="1"/>
          </p:cNvCxnSpPr>
          <p:nvPr/>
        </p:nvCxnSpPr>
        <p:spPr>
          <a:xfrm>
            <a:off x="3706152" y="1695668"/>
            <a:ext cx="408648" cy="35468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C4671329-F797-486B-9650-838365381ED1}"/>
              </a:ext>
            </a:extLst>
          </p:cNvPr>
          <p:cNvSpPr/>
          <p:nvPr/>
        </p:nvSpPr>
        <p:spPr>
          <a:xfrm>
            <a:off x="6572840" y="109672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 dirty="0"/>
              <a:t>W-Transact (0211) - Soft ($)</a:t>
            </a:r>
            <a:endParaRPr lang="en-AU" sz="1050" dirty="0">
              <a:ea typeface="+mn-lt"/>
              <a:cs typeface="+mn-lt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08AACB7-4A4E-4CDE-B928-1B8D543E53C4}"/>
              </a:ext>
            </a:extLst>
          </p:cNvPr>
          <p:cNvSpPr/>
          <p:nvPr/>
        </p:nvSpPr>
        <p:spPr>
          <a:xfrm>
            <a:off x="6572840" y="131034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&lt;Fill me in&gt;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95CD832-529A-40E2-98DE-0C47CA2FE28D}"/>
              </a:ext>
            </a:extLst>
          </p:cNvPr>
          <p:cNvSpPr/>
          <p:nvPr/>
        </p:nvSpPr>
        <p:spPr>
          <a:xfrm>
            <a:off x="6576902" y="154105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&lt;Fill me in&gt;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F293DF5D-1B04-458A-B887-478040537796}"/>
              </a:ext>
            </a:extLst>
          </p:cNvPr>
          <p:cNvSpPr/>
          <p:nvPr/>
        </p:nvSpPr>
        <p:spPr>
          <a:xfrm>
            <a:off x="6576902" y="175467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&lt;Fill me in&gt;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5033F43-3346-4BB3-AEE8-01FDDAFD051E}"/>
              </a:ext>
            </a:extLst>
          </p:cNvPr>
          <p:cNvSpPr/>
          <p:nvPr/>
        </p:nvSpPr>
        <p:spPr>
          <a:xfrm>
            <a:off x="6572840" y="195855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&lt;Fill me in&gt;</a:t>
            </a:r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9D19E7F2-5FDA-41CD-93F8-3A658C0D7B4F}"/>
              </a:ext>
            </a:extLst>
          </p:cNvPr>
          <p:cNvCxnSpPr>
            <a:stCxn id="41" idx="3"/>
            <a:endCxn id="60" idx="1"/>
          </p:cNvCxnSpPr>
          <p:nvPr/>
        </p:nvCxnSpPr>
        <p:spPr>
          <a:xfrm flipV="1">
            <a:off x="6407149" y="1186950"/>
            <a:ext cx="165691" cy="3467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1AE4E0FA-38D9-4A69-9114-FED9499F55D0}"/>
              </a:ext>
            </a:extLst>
          </p:cNvPr>
          <p:cNvCxnSpPr>
            <a:stCxn id="41" idx="3"/>
            <a:endCxn id="61" idx="1"/>
          </p:cNvCxnSpPr>
          <p:nvPr/>
        </p:nvCxnSpPr>
        <p:spPr>
          <a:xfrm>
            <a:off x="6407149" y="1221627"/>
            <a:ext cx="165691" cy="17894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F883A0FE-70AD-45D9-B3F8-D7A81E788A62}"/>
              </a:ext>
            </a:extLst>
          </p:cNvPr>
          <p:cNvCxnSpPr>
            <a:stCxn id="52" idx="3"/>
            <a:endCxn id="62" idx="1"/>
          </p:cNvCxnSpPr>
          <p:nvPr/>
        </p:nvCxnSpPr>
        <p:spPr>
          <a:xfrm flipV="1">
            <a:off x="6407149" y="1631280"/>
            <a:ext cx="169753" cy="17061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or: Elbow 76">
            <a:extLst>
              <a:ext uri="{FF2B5EF4-FFF2-40B4-BE49-F238E27FC236}">
                <a16:creationId xmlns:a16="http://schemas.microsoft.com/office/drawing/2014/main" id="{FDEFC01C-EA8B-4F7F-BB9B-C82DAC9CD755}"/>
              </a:ext>
            </a:extLst>
          </p:cNvPr>
          <p:cNvCxnSpPr>
            <a:stCxn id="52" idx="3"/>
            <a:endCxn id="63" idx="1"/>
          </p:cNvCxnSpPr>
          <p:nvPr/>
        </p:nvCxnSpPr>
        <p:spPr>
          <a:xfrm>
            <a:off x="6407149" y="1648341"/>
            <a:ext cx="169753" cy="19655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A65392D9-4B95-4E1E-8C7E-8FC5ADACB837}"/>
              </a:ext>
            </a:extLst>
          </p:cNvPr>
          <p:cNvCxnSpPr>
            <a:stCxn id="53" idx="3"/>
            <a:endCxn id="64" idx="1"/>
          </p:cNvCxnSpPr>
          <p:nvPr/>
        </p:nvCxnSpPr>
        <p:spPr>
          <a:xfrm flipV="1">
            <a:off x="6407149" y="2048780"/>
            <a:ext cx="165691" cy="157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84">
            <a:extLst>
              <a:ext uri="{FF2B5EF4-FFF2-40B4-BE49-F238E27FC236}">
                <a16:creationId xmlns:a16="http://schemas.microsoft.com/office/drawing/2014/main" id="{869265EE-C657-4193-BA7D-C3FEB064B0A1}"/>
              </a:ext>
            </a:extLst>
          </p:cNvPr>
          <p:cNvSpPr/>
          <p:nvPr/>
        </p:nvSpPr>
        <p:spPr>
          <a:xfrm>
            <a:off x="3772911" y="1554168"/>
            <a:ext cx="275129" cy="274994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A0225A3-009E-423E-A54B-EEFA0E42F069}"/>
              </a:ext>
            </a:extLst>
          </p:cNvPr>
          <p:cNvSpPr/>
          <p:nvPr/>
        </p:nvSpPr>
        <p:spPr>
          <a:xfrm>
            <a:off x="4048040" y="3808573"/>
            <a:ext cx="2353421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 dirty="0"/>
              <a:t>Chemical Costs</a:t>
            </a:r>
            <a:endParaRPr lang="en-AU" sz="1050" dirty="0">
              <a:ea typeface="+mn-lt"/>
              <a:cs typeface="+mn-lt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8F7C8AA3-D6DA-4FA5-987E-8D102FE0CF0D}"/>
              </a:ext>
            </a:extLst>
          </p:cNvPr>
          <p:cNvSpPr/>
          <p:nvPr/>
        </p:nvSpPr>
        <p:spPr>
          <a:xfrm>
            <a:off x="4048041" y="4384278"/>
            <a:ext cx="2379044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 dirty="0"/>
              <a:t>Facility Costs</a:t>
            </a:r>
            <a:endParaRPr lang="en-AU" sz="1050" dirty="0">
              <a:ea typeface="+mn-lt"/>
              <a:cs typeface="+mn-lt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2BF61C6-63AC-4E49-86A5-DAB147487B6E}"/>
              </a:ext>
            </a:extLst>
          </p:cNvPr>
          <p:cNvSpPr/>
          <p:nvPr/>
        </p:nvSpPr>
        <p:spPr>
          <a:xfrm>
            <a:off x="4048041" y="5191479"/>
            <a:ext cx="2353420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 dirty="0"/>
              <a:t>Operational Maintenance Costs</a:t>
            </a:r>
            <a:endParaRPr lang="en-AU" sz="1050" dirty="0">
              <a:ea typeface="+mn-lt"/>
              <a:cs typeface="+mn-lt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5B02BA49-8E09-460D-870D-1492E6E99AB4}"/>
              </a:ext>
            </a:extLst>
          </p:cNvPr>
          <p:cNvSpPr/>
          <p:nvPr/>
        </p:nvSpPr>
        <p:spPr>
          <a:xfrm>
            <a:off x="4048040" y="6069583"/>
            <a:ext cx="2353420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 dirty="0"/>
              <a:t>Labour Costs</a:t>
            </a:r>
            <a:endParaRPr lang="en-AU" sz="1050" dirty="0">
              <a:ea typeface="+mn-lt"/>
              <a:cs typeface="+mn-lt"/>
            </a:endParaRPr>
          </a:p>
        </p:txBody>
      </p: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004F4F80-0C39-419D-A10A-30C9ADC883DD}"/>
              </a:ext>
            </a:extLst>
          </p:cNvPr>
          <p:cNvCxnSpPr>
            <a:cxnSpLocks/>
            <a:stCxn id="6" idx="3"/>
            <a:endCxn id="90" idx="1"/>
          </p:cNvCxnSpPr>
          <p:nvPr/>
        </p:nvCxnSpPr>
        <p:spPr>
          <a:xfrm flipV="1">
            <a:off x="3706152" y="3930129"/>
            <a:ext cx="341888" cy="127607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nector: Elbow 98">
            <a:extLst>
              <a:ext uri="{FF2B5EF4-FFF2-40B4-BE49-F238E27FC236}">
                <a16:creationId xmlns:a16="http://schemas.microsoft.com/office/drawing/2014/main" id="{6331B4FA-2EB8-40C2-B801-4C9EA72260D8}"/>
              </a:ext>
            </a:extLst>
          </p:cNvPr>
          <p:cNvCxnSpPr>
            <a:cxnSpLocks/>
            <a:stCxn id="6" idx="3"/>
            <a:endCxn id="95" idx="1"/>
          </p:cNvCxnSpPr>
          <p:nvPr/>
        </p:nvCxnSpPr>
        <p:spPr>
          <a:xfrm>
            <a:off x="3706152" y="5206205"/>
            <a:ext cx="341888" cy="98493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Oval 100">
            <a:extLst>
              <a:ext uri="{FF2B5EF4-FFF2-40B4-BE49-F238E27FC236}">
                <a16:creationId xmlns:a16="http://schemas.microsoft.com/office/drawing/2014/main" id="{9F7E7B4E-0523-44F6-B5D5-CB12952EBEBC}"/>
              </a:ext>
            </a:extLst>
          </p:cNvPr>
          <p:cNvSpPr/>
          <p:nvPr/>
        </p:nvSpPr>
        <p:spPr>
          <a:xfrm>
            <a:off x="3772911" y="5021389"/>
            <a:ext cx="275129" cy="2749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4B3F6126-9772-4752-95EE-17CE868756C9}"/>
              </a:ext>
            </a:extLst>
          </p:cNvPr>
          <p:cNvSpPr/>
          <p:nvPr/>
        </p:nvSpPr>
        <p:spPr>
          <a:xfrm>
            <a:off x="6572840" y="3806013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 dirty="0"/>
              <a:t>Chem-Exp (001)</a:t>
            </a:r>
            <a:endParaRPr lang="en-AU" sz="1050" dirty="0">
              <a:ea typeface="+mn-lt"/>
              <a:cs typeface="+mn-lt"/>
            </a:endParaRP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2A25632F-650B-4EAA-8F4C-AB1B8FBCB235}"/>
              </a:ext>
            </a:extLst>
          </p:cNvPr>
          <p:cNvCxnSpPr>
            <a:cxnSpLocks/>
            <a:stCxn id="90" idx="3"/>
            <a:endCxn id="105" idx="1"/>
          </p:cNvCxnSpPr>
          <p:nvPr/>
        </p:nvCxnSpPr>
        <p:spPr>
          <a:xfrm flipV="1">
            <a:off x="6401461" y="3927569"/>
            <a:ext cx="171379" cy="256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id="{C5484132-A9FD-470B-B860-2217E3196106}"/>
              </a:ext>
            </a:extLst>
          </p:cNvPr>
          <p:cNvSpPr/>
          <p:nvPr/>
        </p:nvSpPr>
        <p:spPr>
          <a:xfrm>
            <a:off x="6572840" y="4169877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 dirty="0"/>
              <a:t>Utility-Exp (002) - Heating</a:t>
            </a:r>
            <a:endParaRPr lang="en-AU" sz="1050" dirty="0">
              <a:ea typeface="+mn-lt"/>
              <a:cs typeface="+mn-lt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410FDE2-88CC-4456-BD41-9425341828BF}"/>
              </a:ext>
            </a:extLst>
          </p:cNvPr>
          <p:cNvSpPr/>
          <p:nvPr/>
        </p:nvSpPr>
        <p:spPr>
          <a:xfrm>
            <a:off x="6572840" y="4583776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 dirty="0"/>
              <a:t>Utility-Exp (002) - Electricity</a:t>
            </a:r>
            <a:endParaRPr lang="en-AU" sz="1050" dirty="0">
              <a:ea typeface="+mn-lt"/>
              <a:cs typeface="+mn-lt"/>
            </a:endParaRPr>
          </a:p>
        </p:txBody>
      </p: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8A55046B-E493-4187-8423-5F6D1F01B499}"/>
              </a:ext>
            </a:extLst>
          </p:cNvPr>
          <p:cNvCxnSpPr>
            <a:cxnSpLocks/>
            <a:stCxn id="91" idx="3"/>
            <a:endCxn id="108" idx="1"/>
          </p:cNvCxnSpPr>
          <p:nvPr/>
        </p:nvCxnSpPr>
        <p:spPr>
          <a:xfrm flipV="1">
            <a:off x="6427085" y="4291433"/>
            <a:ext cx="145755" cy="214401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id="{534F76B6-7B8D-4434-8343-32EBA0364141}"/>
              </a:ext>
            </a:extLst>
          </p:cNvPr>
          <p:cNvCxnSpPr>
            <a:cxnSpLocks/>
            <a:stCxn id="91" idx="3"/>
            <a:endCxn id="109" idx="1"/>
          </p:cNvCxnSpPr>
          <p:nvPr/>
        </p:nvCxnSpPr>
        <p:spPr>
          <a:xfrm>
            <a:off x="6427085" y="4505834"/>
            <a:ext cx="145755" cy="199498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tangle 113">
            <a:extLst>
              <a:ext uri="{FF2B5EF4-FFF2-40B4-BE49-F238E27FC236}">
                <a16:creationId xmlns:a16="http://schemas.microsoft.com/office/drawing/2014/main" id="{48B96AF2-33E5-483E-A108-B2AC8022D548}"/>
              </a:ext>
            </a:extLst>
          </p:cNvPr>
          <p:cNvSpPr/>
          <p:nvPr/>
        </p:nvSpPr>
        <p:spPr>
          <a:xfrm>
            <a:off x="6572837" y="5776166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900" dirty="0"/>
              <a:t>Plant Admin Costs (004)</a:t>
            </a:r>
            <a:endParaRPr lang="en-AU" sz="900" dirty="0">
              <a:ea typeface="+mn-lt"/>
              <a:cs typeface="+mn-lt"/>
            </a:endParaRPr>
          </a:p>
        </p:txBody>
      </p:sp>
      <p:cxnSp>
        <p:nvCxnSpPr>
          <p:cNvPr id="116" name="Connector: Elbow 115">
            <a:extLst>
              <a:ext uri="{FF2B5EF4-FFF2-40B4-BE49-F238E27FC236}">
                <a16:creationId xmlns:a16="http://schemas.microsoft.com/office/drawing/2014/main" id="{3F419B48-1950-4B4C-9F70-DD5A345C44C6}"/>
              </a:ext>
            </a:extLst>
          </p:cNvPr>
          <p:cNvCxnSpPr>
            <a:cxnSpLocks/>
            <a:stCxn id="92" idx="3"/>
            <a:endCxn id="36" idx="1"/>
          </p:cNvCxnSpPr>
          <p:nvPr/>
        </p:nvCxnSpPr>
        <p:spPr>
          <a:xfrm flipV="1">
            <a:off x="6401461" y="4997676"/>
            <a:ext cx="171378" cy="31535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89475BAE-87CC-495F-B1E7-37A74C499C02}"/>
              </a:ext>
            </a:extLst>
          </p:cNvPr>
          <p:cNvCxnSpPr>
            <a:cxnSpLocks/>
            <a:stCxn id="92" idx="3"/>
            <a:endCxn id="114" idx="1"/>
          </p:cNvCxnSpPr>
          <p:nvPr/>
        </p:nvCxnSpPr>
        <p:spPr>
          <a:xfrm>
            <a:off x="6401461" y="5313035"/>
            <a:ext cx="171376" cy="58468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tangle 118">
            <a:extLst>
              <a:ext uri="{FF2B5EF4-FFF2-40B4-BE49-F238E27FC236}">
                <a16:creationId xmlns:a16="http://schemas.microsoft.com/office/drawing/2014/main" id="{457F9445-ACF8-4512-AA7C-16DC669BFF1A}"/>
              </a:ext>
            </a:extLst>
          </p:cNvPr>
          <p:cNvSpPr/>
          <p:nvPr/>
        </p:nvSpPr>
        <p:spPr>
          <a:xfrm>
            <a:off x="6572837" y="6068509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 dirty="0"/>
              <a:t>Labour-Costs (001)</a:t>
            </a:r>
            <a:endParaRPr lang="en-AU" sz="1050" dirty="0">
              <a:ea typeface="+mn-lt"/>
              <a:cs typeface="+mn-lt"/>
            </a:endParaRP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8DB6581D-52A9-4F39-94F6-D3CD63FBDC94}"/>
              </a:ext>
            </a:extLst>
          </p:cNvPr>
          <p:cNvCxnSpPr>
            <a:cxnSpLocks/>
            <a:stCxn id="95" idx="3"/>
            <a:endCxn id="119" idx="1"/>
          </p:cNvCxnSpPr>
          <p:nvPr/>
        </p:nvCxnSpPr>
        <p:spPr>
          <a:xfrm flipV="1">
            <a:off x="6401460" y="6190065"/>
            <a:ext cx="171377" cy="107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133">
            <a:extLst>
              <a:ext uri="{FF2B5EF4-FFF2-40B4-BE49-F238E27FC236}">
                <a16:creationId xmlns:a16="http://schemas.microsoft.com/office/drawing/2014/main" id="{D6A33934-8389-40A1-ABCE-F8BCB00B37F1}"/>
              </a:ext>
            </a:extLst>
          </p:cNvPr>
          <p:cNvSpPr txBox="1"/>
          <p:nvPr/>
        </p:nvSpPr>
        <p:spPr>
          <a:xfrm>
            <a:off x="395213" y="6281655"/>
            <a:ext cx="1287283" cy="274994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en-AU" sz="1200" b="1" dirty="0">
                <a:solidFill>
                  <a:schemeClr val="bg1"/>
                </a:solidFill>
              </a:rPr>
              <a:t>Profit Centre</a:t>
            </a:r>
          </a:p>
        </p:txBody>
      </p:sp>
    </p:spTree>
    <p:extLst>
      <p:ext uri="{BB962C8B-B14F-4D97-AF65-F5344CB8AC3E}">
        <p14:creationId xmlns:p14="http://schemas.microsoft.com/office/powerpoint/2010/main" val="2968087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08</TotalTime>
  <Words>116</Words>
  <Application>Microsoft Office PowerPoint</Application>
  <PresentationFormat>Custom</PresentationFormat>
  <Paragraphs>30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1_Synergy_CF_YNR013</vt:lpstr>
      <vt:lpstr>EBIT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Christopher H</cp:lastModifiedBy>
  <cp:revision>58</cp:revision>
  <dcterms:created xsi:type="dcterms:W3CDTF">2020-04-12T13:23:13Z</dcterms:created>
  <dcterms:modified xsi:type="dcterms:W3CDTF">2021-02-10T22:28:06Z</dcterms:modified>
</cp:coreProperties>
</file>